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1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375434530706838E-2"/>
          <c:y val="0.12345679012345678"/>
          <c:w val="0.90150637311703363"/>
          <c:h val="0.8020833333333333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606-4A1E-B712-495D47E1544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606-4A1E-B712-495D47E1544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606-4A1E-B712-495D47E1544E}"/>
                </c:ext>
              </c:extLst>
            </c:dLbl>
            <c:dLbl>
              <c:idx val="1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606-4A1E-B712-495D47E1544E}"/>
                </c:ext>
              </c:extLst>
            </c:dLbl>
            <c:dLbl>
              <c:idx val="2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606-4A1E-B712-495D47E1544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606-4A1E-B712-495D47E1544E}"/>
                </c:ext>
              </c:extLst>
            </c:dLbl>
            <c:dLbl>
              <c:idx val="4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606-4A1E-B712-495D47E1544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606-4A1E-B712-495D47E1544E}"/>
                </c:ext>
              </c:extLst>
            </c:dLbl>
            <c:dLbl>
              <c:idx val="6"/>
              <c:layout>
                <c:manualLayout>
                  <c:x val="-2.3174971031286211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606-4A1E-B712-495D47E1544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4</c:v>
                </c:pt>
                <c:pt idx="1">
                  <c:v>41</c:v>
                </c:pt>
                <c:pt idx="2">
                  <c:v>40</c:v>
                </c:pt>
                <c:pt idx="3">
                  <c:v>48</c:v>
                </c:pt>
                <c:pt idx="4">
                  <c:v>26</c:v>
                </c:pt>
                <c:pt idx="5">
                  <c:v>-12</c:v>
                </c:pt>
                <c:pt idx="6">
                  <c:v>-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606-4A1E-B712-495D47E15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11184"/>
        <c:axId val="1"/>
      </c:barChart>
      <c:catAx>
        <c:axId val="3372111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-20"/>
        </c:scaling>
        <c:delete val="0"/>
        <c:axPos val="t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3721118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B57A3-DEDA-4317-A9EC-13EF161E482E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7BA2DF-6344-4FC9-8C11-2843AD5C79D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3372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5103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6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8524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22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74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256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90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9817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23" imgW="349" imgH="350" progId="TCLayout.ActiveDocument.1">
                  <p:embed/>
                </p:oleObj>
              </mc:Choice>
              <mc:Fallback>
                <p:oleObj name="think-cell 幻灯片" r:id="rId2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8281BC1C-679B-AA3C-E834-D6F9EB467A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9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, columns, bars, think-cell, chart, charts, graph, graphs, comment</a:t>
            </a:r>
          </a:p>
        </p:txBody>
      </p:sp>
      <p:sp>
        <p:nvSpPr>
          <p:cNvPr id="11" name="Rechteck 137">
            <a:extLst>
              <a:ext uri="{FF2B5EF4-FFF2-40B4-BE49-F238E27FC236}">
                <a16:creationId xmlns:a16="http://schemas.microsoft.com/office/drawing/2014/main" id="{0DD04B52-EE92-3E16-FEB2-8995A8FD4EC4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924094C9-6AD2-4B46-3EAD-E8B4547A1EC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904A2553-2DD9-638F-4921-A770836FFC6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6" name="tc_columnheadline">
              <a:extLst>
                <a:ext uri="{FF2B5EF4-FFF2-40B4-BE49-F238E27FC236}">
                  <a16:creationId xmlns:a16="http://schemas.microsoft.com/office/drawing/2014/main" id="{8B9A1B38-0298-E19F-76A5-C00A48B1034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tc_columnheader">
            <a:extLst>
              <a:ext uri="{FF2B5EF4-FFF2-40B4-BE49-F238E27FC236}">
                <a16:creationId xmlns:a16="http://schemas.microsoft.com/office/drawing/2014/main" id="{9EA483C3-448D-BEBC-DC95-83B782D1069A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8" name="tc_columnhead">
              <a:extLst>
                <a:ext uri="{FF2B5EF4-FFF2-40B4-BE49-F238E27FC236}">
                  <a16:creationId xmlns:a16="http://schemas.microsoft.com/office/drawing/2014/main" id="{E9ECA221-9324-A15D-CCAE-1E76EA84888E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9" name="tc_columnheadline">
              <a:extLst>
                <a:ext uri="{FF2B5EF4-FFF2-40B4-BE49-F238E27FC236}">
                  <a16:creationId xmlns:a16="http://schemas.microsoft.com/office/drawing/2014/main" id="{9DB1358D-8034-CA4F-68E3-A0337F328B58}"/>
                </a:ext>
              </a:extLst>
            </p:cNvPr>
            <p:cNvCxnSpPr>
              <a:cxnSpLocks/>
              <a:stCxn id="18" idx="4"/>
              <a:endCxn id="1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7F4EBA3E-1547-3489-3D2C-A48BCEF28565}"/>
              </a:ext>
            </a:extLst>
          </p:cNvPr>
          <p:cNvSpPr>
            <a:spLocks/>
          </p:cNvSpPr>
          <p:nvPr/>
        </p:nvSpPr>
        <p:spPr>
          <a:xfrm>
            <a:off x="8811106" y="-1175326"/>
            <a:ext cx="4575600" cy="17346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value line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sort the ba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 from highest to lowest, in the mini toolbar, selec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ategories in Descending Y Extent Ord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</p:txBody>
      </p:sp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EE5D4A51-EADC-4CC6-AF76-7ADD18D92D89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782638" y="2249488"/>
          <a:ext cx="6850062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21" name="Arrow: Right 20">
            <a:extLst>
              <a:ext uri="{FF2B5EF4-FFF2-40B4-BE49-F238E27FC236}">
                <a16:creationId xmlns:a16="http://schemas.microsoft.com/office/drawing/2014/main" id="{C825AC13-30B3-F273-0862-975E9BD502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 rot="5400000">
            <a:off x="5010150" y="24384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934AA6D2-1DFC-3C1F-AF13-57F06750C6B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5073650" y="4513263"/>
            <a:ext cx="0" cy="15446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Straight Connector 361">
            <a:extLst>
              <a:ext uri="{FF2B5EF4-FFF2-40B4-BE49-F238E27FC236}">
                <a16:creationId xmlns:a16="http://schemas.microsoft.com/office/drawing/2014/main" id="{8A799DCC-6AD1-F5DE-9DE9-5EAE89C726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5073650" y="2757488"/>
            <a:ext cx="0" cy="15430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6227B2AA-AA04-C8F9-65BC-DC85CA80B33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5400000">
            <a:off x="6018213" y="24384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4C474CB-78C2-3A26-CF08-CFBBD02A0CF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V="1">
            <a:off x="6081713" y="2757488"/>
            <a:ext cx="0" cy="33004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E8F8D5C-1491-8981-3D5A-0B42E45A131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573963" y="2544762"/>
            <a:ext cx="6524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Margin</a:t>
            </a:r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p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er uni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A4D44A3-DF10-DFD0-EE66-C96264BE5B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4175" y="2886075"/>
            <a:ext cx="639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BA8B82-2C5E-446B-AE5B-7515A83038B1}" type="datetime'''B''r''an''''''''''''''''''''''''''d'''''''' ''''1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D46989-DB07-AF83-390A-708F0554011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47663" y="3357563"/>
            <a:ext cx="676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A6ECC6-4287-4547-BFCA-64B9A0539B5E}" type="datetime'''''''''B''''''r''a''''n''''d'''''''' ''''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88BD066-4908-0B00-E9CE-64681E72D930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349249" y="3829050"/>
            <a:ext cx="674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0D3C9C3-D821-42CA-83DB-48FA5BABAA52}" type="datetime'''''''''B''''''''''''r''''an''d'''''' ''''''''''3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A9671B0-D91D-6C8A-3F88-EAD87348508B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44487" y="4300538"/>
            <a:ext cx="679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EDE958-AF08-42F2-87AE-C4F05609F1DF}" type="datetime'''B''r''''''''''''''''''''''''''''''''an''''''''d'''' 4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CF8985-4D3C-EFA2-B457-B43029BBF79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46075" y="4772025"/>
            <a:ext cx="677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3BF212-0685-4A0F-9AC7-E70BADFD212A}" type="datetime'''''B''''r''''''''''a''''''nd'''''''''''''''''''''''' ''''5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1F04605-7815-7E0B-4DC4-560BDAA8356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47663" y="5243513"/>
            <a:ext cx="676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E7C7A1-A1D0-4339-8750-60CC335B06A9}" type="datetime'''''''B''r''a''''''n''''''''''''''''''''''d'''' 6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9C42B69-C377-A7D0-1496-F526CCD0FA8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61949" y="5715000"/>
            <a:ext cx="661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460325-25F0-4177-96C3-6527D19F6B4D}" type="datetime'B''''''''''''''''r''''''''''''''''''''a''nd ''''''''''''7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rand 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4AF8FE4-3A25-7F92-FA57-D7436F27B24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74663" y="19748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F71070C-E52C-D998-EC41-3DB65A967EF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754188" y="19748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3B45610-B3C0-1D08-1D95-95FF6C01337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6287" y="1970088"/>
            <a:ext cx="876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55813" y="1970088"/>
            <a:ext cx="1058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E086812-D950-4E58-BAE9-9B107228FBBF}"/>
              </a:ext>
            </a:extLst>
          </p:cNvPr>
          <p:cNvSpPr txBox="1"/>
          <p:nvPr/>
        </p:nvSpPr>
        <p:spPr>
          <a:xfrm>
            <a:off x="4643919" y="729465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>
                <a:solidFill>
                  <a:srgbClr val="575757"/>
                </a:solidFill>
              </a:rPr>
              <a:t>请手动填入数据</a:t>
            </a:r>
            <a:endParaRPr lang="zh-CN" altLang="en-US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147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rxP4VcNaPneTOhpTS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n0jnsbNSx6fM06_8W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TNFjg57xXF8n0ZJJB9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vCbwBManAfCdMrPA00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ObXLbczHHFCg0.Dn.E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Ba08UmP0tKai8wfdML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.mMuz3ENnTk8DaXPy4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SRTZi7qwxfh7cfmBjk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A8rghE1ezaApitVBRe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SHme3VD8qKL3o6q9Y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AKYXUMoREHNqnw6qI9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1VdcZAp9m4_bW2I7C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HgQrXTjl5LF8rx_qXe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L2kGh09JQT9dJVpGFo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eIP9INbvtsKU6jlLBH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xbqhkwT4hir9_QTxMe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7lWb1QtL2o7W0AQcD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NAAeKc7M1nIux4D8aJz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</TotalTime>
  <Words>165</Words>
  <Application>Microsoft Office PowerPoint</Application>
  <PresentationFormat>宽屏</PresentationFormat>
  <Paragraphs>2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9T07:49:25Z</dcterms:created>
  <dcterms:modified xsi:type="dcterms:W3CDTF">2025-09-09T09:11:01Z</dcterms:modified>
</cp:coreProperties>
</file>